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1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B5-4E01-A25F-84ED340537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B5-4E01-A25F-84ED340537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B5-4E01-A25F-84ED34053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86200640"/>
        <c:axId val="286198240"/>
      </c:barChart>
      <c:catAx>
        <c:axId val="286200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157C4D19-0FC1-450C-815A-53E65F58DE0A}">
          <cx:tx>
            <cx:txData>
              <cx:f>Sheet1!$B$1</cx:f>
              <cx:v>Series1</cx:v>
            </cx:txData>
          </cx:tx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endParaRPr lang="en-US" sz="1197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400"/>
            </a:pPr>
            <a:endParaRPr lang="en-US" sz="14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cx:txPr>
      </cx:axis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400"/>
          </a:pPr>
          <a:endParaRPr lang="en-US" sz="1400" b="0" i="0" u="none" strike="noStrike" baseline="0">
            <a:solidFill>
              <a:prstClr val="black">
                <a:lumMod val="65000"/>
                <a:lumOff val="35000"/>
              </a:prstClr>
            </a:solidFill>
            <a:latin typeface="Arial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image" Target="../media/image40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97C0D-A94B-5800-0E56-4E0B80FBE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20DCCE-6EC2-D892-72EE-BA71E3C46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20DCCE-6EC2-D892-72EE-BA71E3C46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C2850986-3EC8-9E5E-7C78-0AEBA501C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Waterfall / Cluster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0AF997C-F935-8C46-807E-48B566E5A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B858589-EC0D-7A4F-9479-AEA745ECE5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750AD8C5-3501-5BE0-1A6B-F1AA9C12F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5D356E17-EA7D-97DC-5F28-F6A48340CB4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0" name="Chart Placeholder 5">
                <a:extLst>
                  <a:ext uri="{FF2B5EF4-FFF2-40B4-BE49-F238E27FC236}">
                    <a16:creationId xmlns:a16="http://schemas.microsoft.com/office/drawing/2014/main" id="{F847B319-815D-DA8C-568D-9D345390AE1D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10" name="Chart Placeholder 5">
                <a:extLst>
                  <a:ext uri="{FF2B5EF4-FFF2-40B4-BE49-F238E27FC236}">
                    <a16:creationId xmlns:a16="http://schemas.microsoft.com/office/drawing/2014/main" id="{F847B319-815D-DA8C-568D-9D345390AE1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5" name="Chart Placeholder 6">
            <a:extLst>
              <a:ext uri="{FF2B5EF4-FFF2-40B4-BE49-F238E27FC236}">
                <a16:creationId xmlns:a16="http://schemas.microsoft.com/office/drawing/2014/main" id="{53CB7D1C-0C66-8D89-650A-69C1D2D2EAAB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510938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8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Waterfall / Cluster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90</cp:revision>
  <dcterms:created xsi:type="dcterms:W3CDTF">2025-07-09T10:57:17Z</dcterms:created>
  <dcterms:modified xsi:type="dcterms:W3CDTF">2025-10-22T10:12:56Z</dcterms:modified>
  <cp:category/>
</cp:coreProperties>
</file>